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gNwXMXwZIx.png"/><Relationship Id="rId3" Type="http://schemas.openxmlformats.org/officeDocument/2006/relationships/image" Target="../media/jl_4ZArk5Sj8F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CFAZ6pqHoL.pn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Equations, Pictures, and Plots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1800000" y="1800000"/>
            <a:ext cx="10945368" cy="61722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Text passed to a slide is in `String` format
- It is not Markdown
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Tips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3429000"/>
            <a:ext cx="1440000" cy="312853"/>
          </a:xfrm>
          <a:prstGeom prst="rect">
            <a:avLst/>
          </a:prstGeom>
        </p:spPr>
      </p:pic>
      <p:pic>
        <p:nvPicPr>
          <p:cNvPr id="3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12" y="3429000"/>
            <a:ext cx="1440000" cy="13359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quations</a:t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685800"/>
            <a:ext cx="1440000" cy="960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ots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